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Aumente a eficiência do seu equipamento e assegure a qualidade do produ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Sistema de recuperação de calor do f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,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AL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31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654769" y="2174553"/>
            <a:ext cx="39039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Estabilidade segura do processo de sopr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Evite problemas de qualidade da garrafa devido à variação da temperatura ambiente</a:t>
            </a:r>
            <a:endParaRPr lang="en-GB" altLang="fr-FR" sz="1200" b="1" dirty="0"/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CAB557E-EBD7-4CF1-BD93-567D39827B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ECBD5413-F473-4408-9FC4-25C8A7D1F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0837"/>
            <a:ext cx="3873500" cy="1827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pt-BR" sz="1100" dirty="0">
                <a:solidFill>
                  <a:srgbClr val="000000"/>
                </a:solidFill>
              </a:rPr>
              <a:t>Os componentes do sistema de recuperação de calor do forno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módulo de entrada de ar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Um módulo de ventilação inferior incluindo um ventilado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Um módulo de ventilação superior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8</TotalTime>
  <Words>101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a eficiência do seu equipamento e assegure a qualidade d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2-16T12:1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